
<file path=[Content_Types].xml><?xml version="1.0" encoding="utf-8"?>
<Types xmlns="http://schemas.openxmlformats.org/package/2006/content-types"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handoutMasterIdLst>
    <p:handoutMasterId r:id="rId7"/>
  </p:handoutMasterIdLst>
  <p:sldIdLst>
    <p:sldId id="381" r:id="rId2"/>
    <p:sldId id="400" r:id="rId3"/>
    <p:sldId id="401" r:id="rId4"/>
    <p:sldId id="385" r:id="rId5"/>
  </p:sldIdLst>
  <p:sldSz cx="10058400" cy="7772400"/>
  <p:notesSz cx="7023100" cy="9309100"/>
  <p:defaultTextStyle>
    <a:defPPr>
      <a:defRPr lang="en-US"/>
    </a:defPPr>
    <a:lvl1pPr marL="0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48" userDrawn="1">
          <p15:clr>
            <a:srgbClr val="A4A3A4"/>
          </p15:clr>
        </p15:guide>
        <p15:guide id="2" pos="3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9410" autoAdjust="0"/>
  </p:normalViewPr>
  <p:slideViewPr>
    <p:cSldViewPr>
      <p:cViewPr varScale="1">
        <p:scale>
          <a:sx n="59" d="100"/>
          <a:sy n="59" d="100"/>
        </p:scale>
        <p:origin x="-1310" y="-72"/>
      </p:cViewPr>
      <p:guideLst>
        <p:guide orient="horz" pos="2448"/>
        <p:guide pos="31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3043238" cy="465138"/>
          </a:xfrm>
          <a:prstGeom prst="rect">
            <a:avLst/>
          </a:prstGeom>
        </p:spPr>
        <p:txBody>
          <a:bodyPr vert="horz" lIns="91382" tIns="45692" rIns="91382" bIns="4569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8" y="3"/>
            <a:ext cx="3043238" cy="465138"/>
          </a:xfrm>
          <a:prstGeom prst="rect">
            <a:avLst/>
          </a:prstGeom>
        </p:spPr>
        <p:txBody>
          <a:bodyPr vert="horz" lIns="91382" tIns="45692" rIns="91382" bIns="45692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42376"/>
            <a:ext cx="3043238" cy="465138"/>
          </a:xfrm>
          <a:prstGeom prst="rect">
            <a:avLst/>
          </a:prstGeom>
        </p:spPr>
        <p:txBody>
          <a:bodyPr vert="horz" lIns="91382" tIns="45692" rIns="91382" bIns="4569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8" y="8842376"/>
            <a:ext cx="3043238" cy="465138"/>
          </a:xfrm>
          <a:prstGeom prst="rect">
            <a:avLst/>
          </a:prstGeom>
        </p:spPr>
        <p:txBody>
          <a:bodyPr vert="horz" lIns="91382" tIns="45692" rIns="91382" bIns="45692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475643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24" tIns="47510" rIns="95024" bIns="4751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9" y="0"/>
            <a:ext cx="3043343" cy="465455"/>
          </a:xfrm>
          <a:prstGeom prst="rect">
            <a:avLst/>
          </a:prstGeom>
        </p:spPr>
        <p:txBody>
          <a:bodyPr vert="horz" lIns="95024" tIns="47510" rIns="95024" bIns="47510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2538" y="698500"/>
            <a:ext cx="45180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24" tIns="47510" rIns="95024" bIns="4751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24" tIns="47510" rIns="95024" bIns="4751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2"/>
            <a:ext cx="3043343" cy="465455"/>
          </a:xfrm>
          <a:prstGeom prst="rect">
            <a:avLst/>
          </a:prstGeom>
        </p:spPr>
        <p:txBody>
          <a:bodyPr vert="horz" lIns="95024" tIns="47510" rIns="95024" bIns="4751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9" y="8842032"/>
            <a:ext cx="3043343" cy="465455"/>
          </a:xfrm>
          <a:prstGeom prst="rect">
            <a:avLst/>
          </a:prstGeom>
        </p:spPr>
        <p:txBody>
          <a:bodyPr vert="horz" lIns="95024" tIns="47510" rIns="95024" bIns="47510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6564" y="1658832"/>
            <a:ext cx="9277827" cy="172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3" name="Rectangle 10"/>
          <p:cNvSpPr/>
          <p:nvPr/>
        </p:nvSpPr>
        <p:spPr>
          <a:xfrm>
            <a:off x="359729" y="708872"/>
            <a:ext cx="8441373" cy="266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920991" y="7202068"/>
            <a:ext cx="1840548" cy="176318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22/2017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8954" y="708873"/>
            <a:ext cx="8406446" cy="65857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8954" y="431800"/>
            <a:ext cx="3430587" cy="25908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517001" y="1925486"/>
            <a:ext cx="9183319" cy="503029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07383" y="690881"/>
            <a:ext cx="8408017" cy="68072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920991" y="7202068"/>
            <a:ext cx="1840548" cy="17631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2/2017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07574" y="423908"/>
            <a:ext cx="3430587" cy="25908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517003" y="1925486"/>
            <a:ext cx="4352941" cy="503029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5060047" y="1921168"/>
            <a:ext cx="4352941" cy="503029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>
          <a:xfrm>
            <a:off x="7920991" y="7202068"/>
            <a:ext cx="1840548" cy="17631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22/2017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08955" y="690880"/>
            <a:ext cx="8330245" cy="67584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508954" y="431800"/>
            <a:ext cx="3430587" cy="25908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920991" y="7202068"/>
            <a:ext cx="1840548" cy="176318"/>
          </a:xfrm>
          <a:prstGeom prst="rect">
            <a:avLst/>
          </a:prstGeom>
        </p:spPr>
        <p:txBody>
          <a:bodyPr/>
          <a:lstStyle/>
          <a:p>
            <a:fld id="{1AB85839-DE7E-4765-A9A0-B3F73C84A708}" type="datetime1">
              <a:rPr lang="en-US" smtClean="0"/>
              <a:pPr/>
              <a:t>9/22/2017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76612" y="1409107"/>
            <a:ext cx="4713303" cy="6220799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566521" y="1409107"/>
            <a:ext cx="4713303" cy="622079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8954" y="690880"/>
            <a:ext cx="8406446" cy="67584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508954" y="431800"/>
            <a:ext cx="3430587" cy="25908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92443" y="685800"/>
            <a:ext cx="8249285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92444" y="1371600"/>
            <a:ext cx="9153843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92444" y="7214658"/>
            <a:ext cx="9153843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963502" y="7467600"/>
            <a:ext cx="838200" cy="25908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516892" y="1925108"/>
            <a:ext cx="9183529" cy="503047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sz="1300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53025" y="251883"/>
            <a:ext cx="782320" cy="806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3592038" y="7240101"/>
            <a:ext cx="2874328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954" y="708873"/>
            <a:ext cx="4063046" cy="658578"/>
          </a:xfrm>
        </p:spPr>
        <p:txBody>
          <a:bodyPr/>
          <a:lstStyle/>
          <a:p>
            <a:r>
              <a:rPr lang="en-US" sz="1800" dirty="0" smtClean="0"/>
              <a:t>FMCB Calendar</a:t>
            </a:r>
            <a:endParaRPr lang="en-US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65966521"/>
              </p:ext>
            </p:extLst>
          </p:nvPr>
        </p:nvGraphicFramePr>
        <p:xfrm>
          <a:off x="499429" y="1447800"/>
          <a:ext cx="9177971" cy="5672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771"/>
                <a:gridCol w="3200400"/>
                <a:gridCol w="4876800"/>
              </a:tblGrid>
              <a:tr h="228600"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1292136"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  <a:endParaRPr lang="en-US" sz="1400" baseline="0" dirty="0" smtClean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400" kern="1200" baseline="0" dirty="0" smtClean="0">
                        <a:solidFill>
                          <a:srgbClr val="00B05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292136"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  <a:endParaRPr lang="en-US" sz="1400" b="1" baseline="0" dirty="0" smtClean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400" b="0" baseline="0" dirty="0" smtClean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Green Line Extension project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400" kern="1200" baseline="0" dirty="0" smtClean="0">
                        <a:solidFill>
                          <a:srgbClr val="00B05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7830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  <a:endParaRPr lang="en-US" sz="1400" b="1" baseline="0" dirty="0" smtClean="0">
                        <a:solidFill>
                          <a:srgbClr val="0070C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ource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delivery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and Keoli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ange/Red Line train production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 update (Quarterly)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update (Quarterly)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investments in Core System (Quarterly)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ing update (Monthly) 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ing update (Monthly)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ding Update (Quarterly)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82496" y="7391400"/>
            <a:ext cx="53351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tems in shown in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572000" y="708873"/>
            <a:ext cx="4191000" cy="658578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/>
            <a:r>
              <a:rPr lang="en-US" sz="1800" kern="0" dirty="0" smtClean="0"/>
              <a:t>Next Meeting: 9/18/17</a:t>
            </a: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xmlns="" val="61135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49641475"/>
              </p:ext>
            </p:extLst>
          </p:nvPr>
        </p:nvGraphicFramePr>
        <p:xfrm>
          <a:off x="507383" y="1447800"/>
          <a:ext cx="9112918" cy="4796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5617"/>
                <a:gridCol w="4495800"/>
                <a:gridCol w="3981501"/>
              </a:tblGrid>
              <a:tr h="152400"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</a:tr>
              <a:tr h="13716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 Polic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Updat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TA Construction &amp; General Services Contrac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40 Part 1 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   Amendment to Ad Policy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Tx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986527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16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oint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ssDOT Agenda Item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ital Updat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nter Communications </a:t>
                      </a:r>
                    </a:p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ovements and Coordination</a:t>
                      </a:r>
                    </a:p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0668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grated Vehicle and Facility Maintenance Pla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18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Q1 Repor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te Night Service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40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0668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xboro Pilot Updat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ve Stream Pilot Discu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endParaRPr lang="en-US" sz="140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of proposal/costs to begin live streaming of FMCB Meeting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07574" y="423908"/>
            <a:ext cx="3430587" cy="25908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507384" y="690881"/>
            <a:ext cx="4578688" cy="680720"/>
          </a:xfrm>
        </p:spPr>
        <p:txBody>
          <a:bodyPr/>
          <a:lstStyle/>
          <a:p>
            <a:r>
              <a:rPr lang="en-US" sz="1800" dirty="0" smtClean="0"/>
              <a:t>FMCB Calendar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4572000" y="708873"/>
            <a:ext cx="4191000" cy="658578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/>
            <a:r>
              <a:rPr lang="en-US" sz="1800" kern="0" dirty="0" smtClean="0"/>
              <a:t>Next Meeting: 9/25/17</a:t>
            </a:r>
            <a:endParaRPr lang="en-US" sz="1800" kern="0" dirty="0"/>
          </a:p>
        </p:txBody>
      </p:sp>
      <p:sp>
        <p:nvSpPr>
          <p:cNvPr id="13" name="TextBox 12"/>
          <p:cNvSpPr txBox="1"/>
          <p:nvPr/>
        </p:nvSpPr>
        <p:spPr>
          <a:xfrm>
            <a:off x="381000" y="7315200"/>
            <a:ext cx="533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tems in shown in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395662" y="7236619"/>
            <a:ext cx="32246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*No public comment 1</a:t>
            </a:r>
            <a:r>
              <a:rPr lang="en-US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meeting of every month</a:t>
            </a:r>
          </a:p>
        </p:txBody>
      </p:sp>
    </p:spTree>
    <p:extLst>
      <p:ext uri="{BB962C8B-B14F-4D97-AF65-F5344CB8AC3E}">
        <p14:creationId xmlns:p14="http://schemas.microsoft.com/office/powerpoint/2010/main" xmlns="" val="787287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47583825"/>
              </p:ext>
            </p:extLst>
          </p:nvPr>
        </p:nvGraphicFramePr>
        <p:xfrm>
          <a:off x="507383" y="1447800"/>
          <a:ext cx="9112918" cy="4796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1817"/>
                <a:gridCol w="4191000"/>
                <a:gridCol w="4210101"/>
              </a:tblGrid>
              <a:tr h="152400"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13716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6*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outh Pass Upda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 40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 2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e of six planning/modal deep dives</a:t>
                      </a:r>
                    </a:p>
                  </a:txBody>
                  <a:tcPr/>
                </a:tc>
              </a:tr>
              <a:tr h="986527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3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oint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DOT Agenda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tem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0668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schedul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endParaRPr lang="en-US" sz="140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0668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schedul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endParaRPr lang="en-US" sz="140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07574" y="423908"/>
            <a:ext cx="3430587" cy="25908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507384" y="690881"/>
            <a:ext cx="4578688" cy="680720"/>
          </a:xfrm>
        </p:spPr>
        <p:txBody>
          <a:bodyPr/>
          <a:lstStyle/>
          <a:p>
            <a:r>
              <a:rPr lang="en-US" sz="1800" dirty="0" smtClean="0"/>
              <a:t>FMCB Calendar</a:t>
            </a:r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572000" y="708873"/>
            <a:ext cx="4191000" cy="658578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/>
            <a:r>
              <a:rPr lang="en-US" sz="1800" kern="0" dirty="0" smtClean="0"/>
              <a:t>Next Meeting: 9/18/17</a:t>
            </a:r>
            <a:endParaRPr lang="en-US" sz="1800" kern="0" dirty="0"/>
          </a:p>
        </p:txBody>
      </p:sp>
      <p:sp>
        <p:nvSpPr>
          <p:cNvPr id="10" name="TextBox 9"/>
          <p:cNvSpPr txBox="1"/>
          <p:nvPr/>
        </p:nvSpPr>
        <p:spPr>
          <a:xfrm>
            <a:off x="381000" y="7312223"/>
            <a:ext cx="53351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tems in shown in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95662" y="7236619"/>
            <a:ext cx="32246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*No public comment 1</a:t>
            </a:r>
            <a:r>
              <a:rPr lang="en-US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meeting of every month</a:t>
            </a:r>
          </a:p>
        </p:txBody>
      </p:sp>
    </p:spTree>
    <p:extLst>
      <p:ext uri="{BB962C8B-B14F-4D97-AF65-F5344CB8AC3E}">
        <p14:creationId xmlns:p14="http://schemas.microsoft.com/office/powerpoint/2010/main" xmlns="" val="2643279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7384" y="690881"/>
            <a:ext cx="4578496" cy="680720"/>
          </a:xfrm>
        </p:spPr>
        <p:txBody>
          <a:bodyPr/>
          <a:lstStyle/>
          <a:p>
            <a:r>
              <a:rPr lang="en-US" sz="1800" dirty="0" smtClean="0"/>
              <a:t>FMCB Calendar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xmlns="" val="3225840692"/>
              </p:ext>
            </p:extLst>
          </p:nvPr>
        </p:nvGraphicFramePr>
        <p:xfrm>
          <a:off x="507382" y="1447800"/>
          <a:ext cx="9246218" cy="11736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8818"/>
                <a:gridCol w="5867400"/>
              </a:tblGrid>
              <a:tr h="22860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365978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well tim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 Boston 2030 Present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Dispatch Updat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te Crime Preven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BTA Resiliency Plann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king RFP Follow-up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king / Improvement Projec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 Station Expansion Updat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Year Pro Forma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 Grade Crossing Safet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R Update – Overtime Management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ssons Learned on Pilot Program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R Strategic Plan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Y18 – Savings Initiatives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the operational implication of dwell tim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="0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ource comparisons with other transit agenci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="0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tation with TPD and Market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="0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="0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400" b="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 of parking lot utilization, location, and improvement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 on savings and cost control measures .  </a:t>
                      </a:r>
                    </a:p>
                  </a:txBody>
                  <a:tcPr/>
                </a:tc>
              </a:tr>
              <a:tr h="5365978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b="0" strike="noStrike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400" b="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4572000" y="708873"/>
            <a:ext cx="4191000" cy="658578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/>
            <a:r>
              <a:rPr lang="en-US" sz="1800" kern="0" dirty="0" smtClean="0"/>
              <a:t>Next Meeting: 9/18/17</a:t>
            </a:r>
            <a:endParaRPr lang="en-US" sz="1800" kern="0" dirty="0"/>
          </a:p>
        </p:txBody>
      </p:sp>
      <p:sp>
        <p:nvSpPr>
          <p:cNvPr id="8" name="TextBox 7"/>
          <p:cNvSpPr txBox="1"/>
          <p:nvPr/>
        </p:nvSpPr>
        <p:spPr>
          <a:xfrm>
            <a:off x="482496" y="7391400"/>
            <a:ext cx="53351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tems in shown in </a:t>
            </a:r>
            <a:r>
              <a:rPr lang="en-US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xmlns="" val="132304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150373</TotalTime>
  <Words>408</Words>
  <Application>Microsoft Office PowerPoint</Application>
  <PresentationFormat>Custom</PresentationFormat>
  <Paragraphs>126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MBTA Black Line - Blue Title Template</vt:lpstr>
      <vt:lpstr>FMCB Calendar</vt:lpstr>
      <vt:lpstr>FMCB Calendar</vt:lpstr>
      <vt:lpstr>FMCB Calendar</vt:lpstr>
      <vt:lpstr>FMCB Calendar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shin, Samuel</dc:creator>
  <cp:lastModifiedBy>cciampa</cp:lastModifiedBy>
  <cp:revision>419</cp:revision>
  <cp:lastPrinted>2017-09-21T20:36:15Z</cp:lastPrinted>
  <dcterms:created xsi:type="dcterms:W3CDTF">2016-10-12T22:54:08Z</dcterms:created>
  <dcterms:modified xsi:type="dcterms:W3CDTF">2017-09-22T21:38:45Z</dcterms:modified>
</cp:coreProperties>
</file>